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2147375589" r:id="rId6"/>
    <p:sldId id="4848" r:id="rId7"/>
    <p:sldId id="2147375597" r:id="rId8"/>
    <p:sldId id="2147375600" r:id="rId9"/>
    <p:sldId id="2147375601" r:id="rId10"/>
    <p:sldId id="2147375602" r:id="rId11"/>
    <p:sldId id="2147375603" r:id="rId12"/>
    <p:sldId id="2147375604" r:id="rId13"/>
    <p:sldId id="2147375605" r:id="rId14"/>
    <p:sldId id="2147375606" r:id="rId15"/>
    <p:sldId id="2147375607" r:id="rId16"/>
    <p:sldId id="2147375608" r:id="rId17"/>
    <p:sldId id="2147375609" r:id="rId18"/>
    <p:sldId id="2147375610" r:id="rId19"/>
    <p:sldId id="2147375611" r:id="rId20"/>
    <p:sldId id="2147375612" r:id="rId21"/>
    <p:sldId id="2147375613" r:id="rId22"/>
    <p:sldId id="2147375614" r:id="rId23"/>
    <p:sldId id="1633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E155E8-D84C-463E-A3B7-5CF65E1FB393}" v="224" dt="2024-08-26T15:17:23.4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66" d="100"/>
          <a:sy n="66" d="100"/>
        </p:scale>
        <p:origin x="668" y="32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1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openxmlformats.org/officeDocument/2006/relationships/image" Target="../media/image2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43.svg"/><Relationship Id="rId5" Type="http://schemas.openxmlformats.org/officeDocument/2006/relationships/image" Target="../media/image42.png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png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Sahithi Gonuguntl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30-Aug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dirty="0"/>
              <a:t>Business Requirement Document</a:t>
            </a:r>
          </a:p>
          <a:p>
            <a:pPr marL="0" indent="0">
              <a:lnSpc>
                <a:spcPct val="100000"/>
              </a:lnSpc>
              <a:buNone/>
            </a:pPr>
            <a:endParaRPr lang="en-US" sz="2000" dirty="0"/>
          </a:p>
          <a:p>
            <a:pPr marL="0" indent="0">
              <a:lnSpc>
                <a:spcPct val="100000"/>
              </a:lnSpc>
              <a:buNone/>
            </a:pPr>
            <a:r>
              <a:rPr lang="en-US" sz="2000" dirty="0"/>
              <a:t>BRD provide detailed outline of project ensuring that all stakeholders have a shared understanding of what needs to be achieved. It also helps in more accurate planning and resource allocation.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2000" dirty="0"/>
              <a:t>BRD serves as a reference point for discussions between stakeholders, reducing misunderstandings and miscommunications which can result in loss of project or resources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A509033-40AE-BEE7-7491-0F9325B3544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86228" y="1858657"/>
            <a:ext cx="3779848" cy="4078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dirty="0" err="1"/>
              <a:t>Neuroplaticity</a:t>
            </a:r>
            <a:endParaRPr lang="en-US" sz="2000" dirty="0"/>
          </a:p>
          <a:p>
            <a:pPr marL="0" indent="0">
              <a:lnSpc>
                <a:spcPct val="100000"/>
              </a:lnSpc>
              <a:buNone/>
            </a:pPr>
            <a:endParaRPr lang="en-US" sz="800" dirty="0"/>
          </a:p>
          <a:p>
            <a:pPr marL="0" indent="0">
              <a:lnSpc>
                <a:spcPct val="100000"/>
              </a:lnSpc>
              <a:buNone/>
            </a:pPr>
            <a:r>
              <a:rPr lang="en-US" sz="2000" dirty="0"/>
              <a:t>To implement neuroplasticity, continuous learning is required. I tried of making a habit of waking up early at 5:30 AM. I could not wake up and used to turn off the alarm. It becomes even worse on weekends.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2000" dirty="0"/>
              <a:t>I am still working on this habit and I progressed from 7AM to 6AM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30D433E-30BA-B165-7273-E3F532F9E80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6980"/>
          <a:stretch/>
        </p:blipFill>
        <p:spPr>
          <a:xfrm>
            <a:off x="7825405" y="1880587"/>
            <a:ext cx="2011615" cy="4056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Team work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On the three days soft skill sessions, me and my team has done many activities. I am a bit introverted and afraid to be in larger groups. At first, I felt really uncomfortable but when I started working with my team I found myself contributing a lot which increased my confidence and self- awareness.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28D175F-00D2-0C94-C06F-D6A68C48505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6200000">
            <a:off x="7147367" y="1320445"/>
            <a:ext cx="3857569" cy="5143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BRD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The whole business analyst topic is very new to me. Since all these terms are new I faced some difficulties while working on BRD. Sohail sir then clearly explained what are the changes that can be made on the document which made the topic easier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EE2F6ED-E60F-CEF1-C360-B58CBA307CB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54447" y="1858657"/>
            <a:ext cx="3779848" cy="4078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rn business etiquettes, practice growth mindset and self-discipline.</a:t>
            </a: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6-08-2024 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09-09-2024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rned mobile etiquettes, E-mail etiquettes and waking up early.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Our instructor assigned a fun activity that is to make a logo with a name and a tagline that represents our team.</a:t>
            </a:r>
          </a:p>
          <a:p>
            <a:r>
              <a:rPr lang="en-US" sz="2000" dirty="0"/>
              <a:t>We had fun while doing this activity and I came up with the tagline for our group which is quite catchy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4989D8A-97EF-94D9-BA2C-89E8C36A0B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52433" y="2370774"/>
            <a:ext cx="5247439" cy="326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dirty="0"/>
              <a:t>Soft skills really helped in understanding teamwork, adaptability, emotional intelligence, conflict resolution and time management</a:t>
            </a:r>
          </a:p>
          <a:p>
            <a:pPr>
              <a:lnSpc>
                <a:spcPct val="100000"/>
              </a:lnSpc>
            </a:pPr>
            <a:endParaRPr lang="en-US" sz="2000" dirty="0"/>
          </a:p>
          <a:p>
            <a:pPr>
              <a:lnSpc>
                <a:spcPct val="100000"/>
              </a:lnSpc>
            </a:pPr>
            <a:r>
              <a:rPr lang="en-US" sz="1800" dirty="0"/>
              <a:t>In upcoming week, we have foundational bootcamp on technical topics like DBMS, agile, system testing, DevOps and cloud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In current week, we learned business analysis which in turn connected to the topics that will be covering in the next week.</a:t>
            </a:r>
          </a:p>
          <a:p>
            <a:pPr marL="457200" indent="-457200">
              <a:lnSpc>
                <a:spcPct val="100000"/>
              </a:lnSpc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400" dirty="0"/>
              <a:t>"Live with purpose, learn endlessly,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400" dirty="0"/>
              <a:t> and inspire with passion."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/>
              <a:t>Please share an image / visual that best represents you</a:t>
            </a:r>
            <a:endParaRPr lang="en-US" sz="20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6C4AD58-899F-4A8A-D166-7DF735B717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41373" y="2348990"/>
            <a:ext cx="5069559" cy="3041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>
              <a:lnSpc>
                <a:spcPct val="100000"/>
              </a:lnSpc>
            </a:pPr>
            <a:r>
              <a:rPr lang="en-US" sz="2000" dirty="0"/>
              <a:t>Neuroplasticity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Neuroplasticity refers to brain’s ability to change and adapt in response to experiences and learning.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In energy sector, one can embrace neuroplasticity by continually learning and adapting to new technologies, regulations and market conditions.</a:t>
            </a:r>
          </a:p>
          <a:p>
            <a:pPr marL="0" indent="0">
              <a:buNone/>
            </a:pPr>
            <a:r>
              <a:rPr lang="en-US" sz="2000" dirty="0"/>
              <a:t>           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DA8B3E0-91F8-73CA-9B96-67A2F539585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76" t="599" r="9661" b="-599"/>
          <a:stretch/>
        </p:blipFill>
        <p:spPr>
          <a:xfrm>
            <a:off x="6494686" y="2405464"/>
            <a:ext cx="5162932" cy="3215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>
              <a:lnSpc>
                <a:spcPct val="100000"/>
              </a:lnSpc>
            </a:pPr>
            <a:r>
              <a:rPr lang="en-US" sz="2000" dirty="0"/>
              <a:t>Team work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Effective teamwork relies on clear communication, trust and a shared goal.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When team members collaborate openly and support each other, they can combine their strengths and skills to achieve better results than they could individually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8AD5BB2-5221-0BCD-CE5E-7338B091F1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06206" y="2245655"/>
            <a:ext cx="5139892" cy="3306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>
              <a:lnSpc>
                <a:spcPct val="100000"/>
              </a:lnSpc>
            </a:pPr>
            <a:r>
              <a:rPr lang="en-US" sz="2000" dirty="0"/>
              <a:t>Business Requirement Document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BRD serves as a blueprint that outlines what the business needs and expects from the project.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In the Energy sector, for example, if a company is planning to build a new LNG plant, the BRD would outline all business needs such as production capacity, timeline, budget and stakeholder expectations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1D5286C-B5C5-EBD5-5871-8EC207CA0AC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981" t="2538" r="-981" b="12080"/>
          <a:stretch/>
        </p:blipFill>
        <p:spPr>
          <a:xfrm>
            <a:off x="7270552" y="1860993"/>
            <a:ext cx="3782260" cy="4076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557697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dirty="0"/>
              <a:t>Neuroplasticity</a:t>
            </a:r>
            <a:br>
              <a:rPr lang="en-US" sz="2000" dirty="0"/>
            </a:br>
            <a:br>
              <a:rPr lang="en-US" sz="2000" dirty="0"/>
            </a:br>
            <a:r>
              <a:rPr lang="en-US" sz="2000" dirty="0"/>
              <a:t>Shell offers workshops, training sessions and various learning by which I can learn continuously and adapt to new technologies.</a:t>
            </a:r>
          </a:p>
          <a:p>
            <a:pPr marL="0" indent="0">
              <a:lnSpc>
                <a:spcPct val="100000"/>
              </a:lnSpc>
              <a:buNone/>
            </a:pPr>
            <a:endParaRPr lang="en-US" sz="2000" dirty="0"/>
          </a:p>
          <a:p>
            <a:pPr marL="0" indent="0">
              <a:lnSpc>
                <a:spcPct val="100000"/>
              </a:lnSpc>
              <a:buNone/>
            </a:pPr>
            <a:r>
              <a:rPr lang="en-US" sz="2000" dirty="0"/>
              <a:t>By learning continuously, I can quickly adapt to new technologies and also improve my problem solving skills and can come up with innovative solutions and strategies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2BA6DF0-E75F-B96D-FAA3-0071C23A771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76022" y="2307442"/>
            <a:ext cx="4873396" cy="3246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dirty="0"/>
              <a:t>Team work</a:t>
            </a:r>
          </a:p>
          <a:p>
            <a:pPr marL="0" indent="0">
              <a:lnSpc>
                <a:spcPct val="100000"/>
              </a:lnSpc>
              <a:buNone/>
            </a:pPr>
            <a:endParaRPr lang="en-US" sz="800" dirty="0"/>
          </a:p>
          <a:p>
            <a:pPr marL="0" indent="0">
              <a:lnSpc>
                <a:spcPct val="100000"/>
              </a:lnSpc>
              <a:buNone/>
            </a:pPr>
            <a:r>
              <a:rPr lang="en-US" sz="2000" dirty="0"/>
              <a:t>Regular team building exercises can strengthen relationships and improve cooperation among team members. Shell has no hierarchy rules, ensuring open communication and collaboration among the team members. </a:t>
            </a:r>
          </a:p>
          <a:p>
            <a:pPr marL="0" indent="0">
              <a:lnSpc>
                <a:spcPct val="100000"/>
              </a:lnSpc>
              <a:buNone/>
            </a:pPr>
            <a:endParaRPr lang="en-US" sz="900" dirty="0"/>
          </a:p>
          <a:p>
            <a:pPr marL="0" indent="0">
              <a:lnSpc>
                <a:spcPct val="100000"/>
              </a:lnSpc>
              <a:buNone/>
            </a:pPr>
            <a:r>
              <a:rPr lang="en-US" sz="2000" dirty="0"/>
              <a:t>With better teamwork, tasks can be divided according to each member’s strengths, leading to more efficient workflows and high productivity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7351398-7605-0469-A94E-C0F193DD6AF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08238" y="2268583"/>
            <a:ext cx="4945842" cy="3285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844</TotalTime>
  <Words>809</Words>
  <Application>Microsoft Office PowerPoint</Application>
  <PresentationFormat>Widescreen</PresentationFormat>
  <Paragraphs>95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4" baseType="lpstr">
      <vt:lpstr>Arial</vt:lpstr>
      <vt:lpstr>Calibri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2 | My takeaways</vt:lpstr>
      <vt:lpstr>Learning 3 | My takeaways</vt:lpstr>
      <vt:lpstr>PowerPoint Presentation</vt:lpstr>
      <vt:lpstr>Learning 1 | Relevance for Shell</vt:lpstr>
      <vt:lpstr>Learning 2 | Relevance for Shell</vt:lpstr>
      <vt:lpstr>Learning 3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Gonuguntla, Sahithi SBOBNG-PTIY/BCF</cp:lastModifiedBy>
  <cp:revision>503</cp:revision>
  <dcterms:created xsi:type="dcterms:W3CDTF">2022-01-18T12:35:56Z</dcterms:created>
  <dcterms:modified xsi:type="dcterms:W3CDTF">2024-09-01T16:55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